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0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15-4D86-B5D6-468F21ADBC7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15-4D86-B5D6-468F21ADBC7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15-4D86-B5D6-468F21ADBC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AB-4FA6-B2B0-9664317B977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AB-4FA6-B2B0-9664317B977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EAB-4FA6-B2B0-9664317B97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0D42EB-A520-425D-11D3-3EDDA0FBE5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B3DB963-11E3-22BA-84FF-1BC290E43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3DB963-11E3-22BA-84FF-1BC290E43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3EA12226-FA53-771C-7CD2-030308E45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100% Stacked Column / Clustered Column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518FADD-FE22-17CD-8DBA-C084D5899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E4AD7185-F82C-00B1-A1F8-64DBCF8ADE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3A6C1-BDE8-72D9-32EF-E54D2A0013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8D8F2897-D2C6-8AFA-687A-E4D6379B54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6">
            <a:extLst>
              <a:ext uri="{FF2B5EF4-FFF2-40B4-BE49-F238E27FC236}">
                <a16:creationId xmlns:a16="http://schemas.microsoft.com/office/drawing/2014/main" id="{9A26D68C-C032-6123-D183-9ACE90593474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Placeholder 12">
            <a:extLst>
              <a:ext uri="{FF2B5EF4-FFF2-40B4-BE49-F238E27FC236}">
                <a16:creationId xmlns:a16="http://schemas.microsoft.com/office/drawing/2014/main" id="{4A2EF9DA-1A71-38C2-3AD3-214AB30F2281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70404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0</TotalTime>
  <Words>25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100% Stacked Column / 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35</cp:revision>
  <dcterms:created xsi:type="dcterms:W3CDTF">2025-07-09T10:57:17Z</dcterms:created>
  <dcterms:modified xsi:type="dcterms:W3CDTF">2025-10-22T10:05:12Z</dcterms:modified>
  <cp:category/>
</cp:coreProperties>
</file>